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455" r:id="rId2"/>
    <p:sldId id="481" r:id="rId3"/>
    <p:sldId id="482" r:id="rId4"/>
    <p:sldId id="483" r:id="rId5"/>
    <p:sldId id="485" r:id="rId6"/>
    <p:sldId id="486" r:id="rId7"/>
    <p:sldId id="487" r:id="rId8"/>
    <p:sldId id="488" r:id="rId9"/>
    <p:sldId id="489" r:id="rId10"/>
    <p:sldId id="491" r:id="rId11"/>
    <p:sldId id="490" r:id="rId12"/>
    <p:sldId id="492" r:id="rId13"/>
    <p:sldId id="493" r:id="rId14"/>
    <p:sldId id="457" r:id="rId15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EAF6"/>
    <a:srgbClr val="BDD7EE"/>
    <a:srgbClr val="C5E0B4"/>
    <a:srgbClr val="D3EAF7"/>
    <a:srgbClr val="D6E8EB"/>
    <a:srgbClr val="6390B9"/>
    <a:srgbClr val="FAB073"/>
    <a:srgbClr val="DFD0D0"/>
    <a:srgbClr val="EA989E"/>
    <a:srgbClr val="30B5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52" autoAdjust="0"/>
    <p:restoredTop sz="95172" autoAdjust="0"/>
  </p:normalViewPr>
  <p:slideViewPr>
    <p:cSldViewPr snapToGrid="0">
      <p:cViewPr varScale="1">
        <p:scale>
          <a:sx n="115" d="100"/>
          <a:sy n="115" d="100"/>
        </p:scale>
        <p:origin x="420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1.03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51856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316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10055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63014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B466B-9651-4F21-BD55-1FFB048353F2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769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82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1082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3783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0195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1199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060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349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4545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1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tags" Target="../tags/tag13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1.gi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4.vml"/><Relationship Id="rId6" Type="http://schemas.openxmlformats.org/officeDocument/2006/relationships/hyperlink" Target="mailto:vopros@prosv.ru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b="1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3553" y="2672217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0050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1566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1" name="Freeform 39"/>
          <p:cNvSpPr>
            <a:spLocks noEditPoints="1"/>
          </p:cNvSpPr>
          <p:nvPr/>
        </p:nvSpPr>
        <p:spPr bwMode="auto">
          <a:xfrm>
            <a:off x="6540438" y="3077747"/>
            <a:ext cx="588580" cy="492248"/>
          </a:xfrm>
          <a:custGeom>
            <a:avLst/>
            <a:gdLst>
              <a:gd name="T0" fmla="*/ 143 w 859"/>
              <a:gd name="T1" fmla="*/ 0 h 716"/>
              <a:gd name="T2" fmla="*/ 716 w 859"/>
              <a:gd name="T3" fmla="*/ 0 h 716"/>
              <a:gd name="T4" fmla="*/ 859 w 859"/>
              <a:gd name="T5" fmla="*/ 143 h 716"/>
              <a:gd name="T6" fmla="*/ 716 w 859"/>
              <a:gd name="T7" fmla="*/ 287 h 716"/>
              <a:gd name="T8" fmla="*/ 573 w 859"/>
              <a:gd name="T9" fmla="*/ 143 h 716"/>
              <a:gd name="T10" fmla="*/ 644 w 859"/>
              <a:gd name="T11" fmla="*/ 143 h 716"/>
              <a:gd name="T12" fmla="*/ 716 w 859"/>
              <a:gd name="T13" fmla="*/ 215 h 716"/>
              <a:gd name="T14" fmla="*/ 788 w 859"/>
              <a:gd name="T15" fmla="*/ 143 h 716"/>
              <a:gd name="T16" fmla="*/ 716 w 859"/>
              <a:gd name="T17" fmla="*/ 72 h 716"/>
              <a:gd name="T18" fmla="*/ 143 w 859"/>
              <a:gd name="T19" fmla="*/ 72 h 716"/>
              <a:gd name="T20" fmla="*/ 71 w 859"/>
              <a:gd name="T21" fmla="*/ 143 h 716"/>
              <a:gd name="T22" fmla="*/ 143 w 859"/>
              <a:gd name="T23" fmla="*/ 215 h 716"/>
              <a:gd name="T24" fmla="*/ 215 w 859"/>
              <a:gd name="T25" fmla="*/ 143 h 716"/>
              <a:gd name="T26" fmla="*/ 286 w 859"/>
              <a:gd name="T27" fmla="*/ 143 h 716"/>
              <a:gd name="T28" fmla="*/ 143 w 859"/>
              <a:gd name="T29" fmla="*/ 287 h 716"/>
              <a:gd name="T30" fmla="*/ 0 w 859"/>
              <a:gd name="T31" fmla="*/ 143 h 716"/>
              <a:gd name="T32" fmla="*/ 143 w 859"/>
              <a:gd name="T33" fmla="*/ 0 h 716"/>
              <a:gd name="T34" fmla="*/ 465 w 859"/>
              <a:gd name="T35" fmla="*/ 143 h 716"/>
              <a:gd name="T36" fmla="*/ 465 w 859"/>
              <a:gd name="T37" fmla="*/ 573 h 716"/>
              <a:gd name="T38" fmla="*/ 394 w 859"/>
              <a:gd name="T39" fmla="*/ 573 h 716"/>
              <a:gd name="T40" fmla="*/ 394 w 859"/>
              <a:gd name="T41" fmla="*/ 143 h 716"/>
              <a:gd name="T42" fmla="*/ 465 w 859"/>
              <a:gd name="T43" fmla="*/ 143 h 716"/>
              <a:gd name="T44" fmla="*/ 322 w 859"/>
              <a:gd name="T45" fmla="*/ 262 h 716"/>
              <a:gd name="T46" fmla="*/ 322 w 859"/>
              <a:gd name="T47" fmla="*/ 573 h 716"/>
              <a:gd name="T48" fmla="*/ 251 w 859"/>
              <a:gd name="T49" fmla="*/ 573 h 716"/>
              <a:gd name="T50" fmla="*/ 251 w 859"/>
              <a:gd name="T51" fmla="*/ 329 h 716"/>
              <a:gd name="T52" fmla="*/ 322 w 859"/>
              <a:gd name="T53" fmla="*/ 262 h 716"/>
              <a:gd name="T54" fmla="*/ 609 w 859"/>
              <a:gd name="T55" fmla="*/ 329 h 716"/>
              <a:gd name="T56" fmla="*/ 609 w 859"/>
              <a:gd name="T57" fmla="*/ 573 h 716"/>
              <a:gd name="T58" fmla="*/ 537 w 859"/>
              <a:gd name="T59" fmla="*/ 573 h 716"/>
              <a:gd name="T60" fmla="*/ 537 w 859"/>
              <a:gd name="T61" fmla="*/ 262 h 716"/>
              <a:gd name="T62" fmla="*/ 609 w 859"/>
              <a:gd name="T63" fmla="*/ 329 h 716"/>
              <a:gd name="T64" fmla="*/ 716 w 859"/>
              <a:gd name="T65" fmla="*/ 716 h 716"/>
              <a:gd name="T66" fmla="*/ 143 w 859"/>
              <a:gd name="T67" fmla="*/ 716 h 716"/>
              <a:gd name="T68" fmla="*/ 143 w 859"/>
              <a:gd name="T69" fmla="*/ 645 h 716"/>
              <a:gd name="T70" fmla="*/ 716 w 859"/>
              <a:gd name="T71" fmla="*/ 645 h 716"/>
              <a:gd name="T72" fmla="*/ 716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143" y="0"/>
                </a:moveTo>
                <a:lnTo>
                  <a:pt x="716" y="0"/>
                </a:lnTo>
                <a:cubicBezTo>
                  <a:pt x="795" y="0"/>
                  <a:pt x="859" y="64"/>
                  <a:pt x="859" y="143"/>
                </a:cubicBezTo>
                <a:cubicBezTo>
                  <a:pt x="859" y="222"/>
                  <a:pt x="795" y="287"/>
                  <a:pt x="716" y="287"/>
                </a:cubicBezTo>
                <a:cubicBezTo>
                  <a:pt x="637" y="287"/>
                  <a:pt x="573" y="215"/>
                  <a:pt x="573" y="143"/>
                </a:cubicBezTo>
                <a:lnTo>
                  <a:pt x="644" y="143"/>
                </a:lnTo>
                <a:cubicBezTo>
                  <a:pt x="644" y="179"/>
                  <a:pt x="677" y="215"/>
                  <a:pt x="716" y="215"/>
                </a:cubicBezTo>
                <a:cubicBezTo>
                  <a:pt x="755" y="215"/>
                  <a:pt x="788" y="183"/>
                  <a:pt x="788" y="143"/>
                </a:cubicBezTo>
                <a:cubicBezTo>
                  <a:pt x="788" y="104"/>
                  <a:pt x="755" y="72"/>
                  <a:pt x="716" y="72"/>
                </a:cubicBezTo>
                <a:lnTo>
                  <a:pt x="143" y="72"/>
                </a:lnTo>
                <a:cubicBezTo>
                  <a:pt x="104" y="72"/>
                  <a:pt x="71" y="104"/>
                  <a:pt x="71" y="143"/>
                </a:cubicBezTo>
                <a:cubicBezTo>
                  <a:pt x="71" y="183"/>
                  <a:pt x="104" y="215"/>
                  <a:pt x="143" y="215"/>
                </a:cubicBezTo>
                <a:cubicBezTo>
                  <a:pt x="183" y="215"/>
                  <a:pt x="215" y="179"/>
                  <a:pt x="215" y="143"/>
                </a:cubicBezTo>
                <a:lnTo>
                  <a:pt x="286" y="143"/>
                </a:lnTo>
                <a:cubicBezTo>
                  <a:pt x="286" y="215"/>
                  <a:pt x="222" y="287"/>
                  <a:pt x="143" y="287"/>
                </a:cubicBezTo>
                <a:cubicBezTo>
                  <a:pt x="64" y="287"/>
                  <a:pt x="0" y="222"/>
                  <a:pt x="0" y="143"/>
                </a:cubicBezTo>
                <a:cubicBezTo>
                  <a:pt x="0" y="64"/>
                  <a:pt x="64" y="0"/>
                  <a:pt x="143" y="0"/>
                </a:cubicBezTo>
                <a:close/>
                <a:moveTo>
                  <a:pt x="465" y="143"/>
                </a:moveTo>
                <a:lnTo>
                  <a:pt x="465" y="573"/>
                </a:lnTo>
                <a:lnTo>
                  <a:pt x="394" y="573"/>
                </a:lnTo>
                <a:lnTo>
                  <a:pt x="394" y="143"/>
                </a:lnTo>
                <a:lnTo>
                  <a:pt x="465" y="143"/>
                </a:lnTo>
                <a:close/>
                <a:moveTo>
                  <a:pt x="322" y="262"/>
                </a:moveTo>
                <a:lnTo>
                  <a:pt x="322" y="573"/>
                </a:lnTo>
                <a:lnTo>
                  <a:pt x="251" y="573"/>
                </a:lnTo>
                <a:lnTo>
                  <a:pt x="251" y="329"/>
                </a:lnTo>
                <a:cubicBezTo>
                  <a:pt x="286" y="313"/>
                  <a:pt x="286" y="290"/>
                  <a:pt x="322" y="262"/>
                </a:cubicBezTo>
                <a:close/>
                <a:moveTo>
                  <a:pt x="609" y="329"/>
                </a:moveTo>
                <a:lnTo>
                  <a:pt x="609" y="573"/>
                </a:lnTo>
                <a:lnTo>
                  <a:pt x="537" y="573"/>
                </a:lnTo>
                <a:lnTo>
                  <a:pt x="537" y="262"/>
                </a:lnTo>
                <a:cubicBezTo>
                  <a:pt x="573" y="290"/>
                  <a:pt x="573" y="313"/>
                  <a:pt x="609" y="329"/>
                </a:cubicBezTo>
                <a:close/>
                <a:moveTo>
                  <a:pt x="716" y="716"/>
                </a:moveTo>
                <a:lnTo>
                  <a:pt x="143" y="716"/>
                </a:lnTo>
                <a:lnTo>
                  <a:pt x="143" y="645"/>
                </a:lnTo>
                <a:lnTo>
                  <a:pt x="716" y="645"/>
                </a:lnTo>
                <a:lnTo>
                  <a:pt x="716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636625" y="3005710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2" name="Freeform 50"/>
          <p:cNvSpPr>
            <a:spLocks noEditPoints="1"/>
          </p:cNvSpPr>
          <p:nvPr/>
        </p:nvSpPr>
        <p:spPr bwMode="auto">
          <a:xfrm>
            <a:off x="9543392" y="3005710"/>
            <a:ext cx="492485" cy="516260"/>
          </a:xfrm>
          <a:custGeom>
            <a:avLst/>
            <a:gdLst>
              <a:gd name="T0" fmla="*/ 485 w 716"/>
              <a:gd name="T1" fmla="*/ 614 h 752"/>
              <a:gd name="T2" fmla="*/ 465 w 716"/>
              <a:gd name="T3" fmla="*/ 624 h 752"/>
              <a:gd name="T4" fmla="*/ 465 w 716"/>
              <a:gd name="T5" fmla="*/ 680 h 752"/>
              <a:gd name="T6" fmla="*/ 394 w 716"/>
              <a:gd name="T7" fmla="*/ 680 h 752"/>
              <a:gd name="T8" fmla="*/ 394 w 716"/>
              <a:gd name="T9" fmla="*/ 483 h 752"/>
              <a:gd name="T10" fmla="*/ 523 w 716"/>
              <a:gd name="T11" fmla="*/ 387 h 752"/>
              <a:gd name="T12" fmla="*/ 480 w 716"/>
              <a:gd name="T13" fmla="*/ 329 h 752"/>
              <a:gd name="T14" fmla="*/ 358 w 716"/>
              <a:gd name="T15" fmla="*/ 421 h 752"/>
              <a:gd name="T16" fmla="*/ 236 w 716"/>
              <a:gd name="T17" fmla="*/ 329 h 752"/>
              <a:gd name="T18" fmla="*/ 193 w 716"/>
              <a:gd name="T19" fmla="*/ 387 h 752"/>
              <a:gd name="T20" fmla="*/ 322 w 716"/>
              <a:gd name="T21" fmla="*/ 483 h 752"/>
              <a:gd name="T22" fmla="*/ 322 w 716"/>
              <a:gd name="T23" fmla="*/ 680 h 752"/>
              <a:gd name="T24" fmla="*/ 250 w 716"/>
              <a:gd name="T25" fmla="*/ 680 h 752"/>
              <a:gd name="T26" fmla="*/ 250 w 716"/>
              <a:gd name="T27" fmla="*/ 624 h 752"/>
              <a:gd name="T28" fmla="*/ 231 w 716"/>
              <a:gd name="T29" fmla="*/ 614 h 752"/>
              <a:gd name="T30" fmla="*/ 71 w 716"/>
              <a:gd name="T31" fmla="*/ 358 h 752"/>
              <a:gd name="T32" fmla="*/ 358 w 716"/>
              <a:gd name="T33" fmla="*/ 71 h 752"/>
              <a:gd name="T34" fmla="*/ 644 w 716"/>
              <a:gd name="T35" fmla="*/ 358 h 752"/>
              <a:gd name="T36" fmla="*/ 485 w 716"/>
              <a:gd name="T37" fmla="*/ 614 h 752"/>
              <a:gd name="T38" fmla="*/ 358 w 716"/>
              <a:gd name="T39" fmla="*/ 0 h 752"/>
              <a:gd name="T40" fmla="*/ 0 w 716"/>
              <a:gd name="T41" fmla="*/ 358 h 752"/>
              <a:gd name="T42" fmla="*/ 179 w 716"/>
              <a:gd name="T43" fmla="*/ 668 h 752"/>
              <a:gd name="T44" fmla="*/ 179 w 716"/>
              <a:gd name="T45" fmla="*/ 752 h 752"/>
              <a:gd name="T46" fmla="*/ 537 w 716"/>
              <a:gd name="T47" fmla="*/ 752 h 752"/>
              <a:gd name="T48" fmla="*/ 537 w 716"/>
              <a:gd name="T49" fmla="*/ 668 h 752"/>
              <a:gd name="T50" fmla="*/ 716 w 716"/>
              <a:gd name="T51" fmla="*/ 358 h 752"/>
              <a:gd name="T52" fmla="*/ 358 w 716"/>
              <a:gd name="T53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6" h="752">
                <a:moveTo>
                  <a:pt x="485" y="614"/>
                </a:moveTo>
                <a:lnTo>
                  <a:pt x="465" y="624"/>
                </a:lnTo>
                <a:lnTo>
                  <a:pt x="465" y="680"/>
                </a:lnTo>
                <a:lnTo>
                  <a:pt x="394" y="680"/>
                </a:lnTo>
                <a:lnTo>
                  <a:pt x="394" y="483"/>
                </a:lnTo>
                <a:lnTo>
                  <a:pt x="523" y="387"/>
                </a:lnTo>
                <a:lnTo>
                  <a:pt x="480" y="329"/>
                </a:lnTo>
                <a:lnTo>
                  <a:pt x="358" y="421"/>
                </a:lnTo>
                <a:lnTo>
                  <a:pt x="236" y="329"/>
                </a:lnTo>
                <a:lnTo>
                  <a:pt x="193" y="387"/>
                </a:lnTo>
                <a:lnTo>
                  <a:pt x="322" y="483"/>
                </a:lnTo>
                <a:lnTo>
                  <a:pt x="322" y="680"/>
                </a:lnTo>
                <a:lnTo>
                  <a:pt x="250" y="680"/>
                </a:lnTo>
                <a:lnTo>
                  <a:pt x="250" y="624"/>
                </a:lnTo>
                <a:lnTo>
                  <a:pt x="231" y="614"/>
                </a:lnTo>
                <a:cubicBezTo>
                  <a:pt x="132" y="566"/>
                  <a:pt x="71" y="467"/>
                  <a:pt x="71" y="358"/>
                </a:cubicBezTo>
                <a:cubicBezTo>
                  <a:pt x="71" y="200"/>
                  <a:pt x="200" y="71"/>
                  <a:pt x="358" y="71"/>
                </a:cubicBezTo>
                <a:cubicBezTo>
                  <a:pt x="516" y="71"/>
                  <a:pt x="644" y="200"/>
                  <a:pt x="644" y="358"/>
                </a:cubicBezTo>
                <a:cubicBezTo>
                  <a:pt x="644" y="467"/>
                  <a:pt x="583" y="566"/>
                  <a:pt x="485" y="614"/>
                </a:cubicBezTo>
                <a:close/>
                <a:moveTo>
                  <a:pt x="358" y="0"/>
                </a:moveTo>
                <a:cubicBezTo>
                  <a:pt x="160" y="0"/>
                  <a:pt x="0" y="160"/>
                  <a:pt x="0" y="358"/>
                </a:cubicBezTo>
                <a:cubicBezTo>
                  <a:pt x="0" y="487"/>
                  <a:pt x="68" y="604"/>
                  <a:pt x="179" y="668"/>
                </a:cubicBezTo>
                <a:lnTo>
                  <a:pt x="179" y="752"/>
                </a:lnTo>
                <a:lnTo>
                  <a:pt x="537" y="752"/>
                </a:lnTo>
                <a:lnTo>
                  <a:pt x="537" y="668"/>
                </a:lnTo>
                <a:cubicBezTo>
                  <a:pt x="648" y="604"/>
                  <a:pt x="716" y="487"/>
                  <a:pt x="716" y="358"/>
                </a:cubicBezTo>
                <a:cubicBezTo>
                  <a:pt x="716" y="160"/>
                  <a:pt x="555" y="0"/>
                  <a:pt x="3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Rectangle 51"/>
          <p:cNvSpPr>
            <a:spLocks noChangeArrowheads="1"/>
          </p:cNvSpPr>
          <p:nvPr/>
        </p:nvSpPr>
        <p:spPr bwMode="auto">
          <a:xfrm>
            <a:off x="9666515" y="3569995"/>
            <a:ext cx="246243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1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9569" y="4467780"/>
            <a:ext cx="11692856" cy="1107996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4000" b="1" dirty="0" smtClean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НАГЛЯДНЫЕ ПОСОБИЯ</a:t>
            </a:r>
          </a:p>
          <a:p>
            <a:pPr algn="l">
              <a:spcBef>
                <a:spcPts val="0"/>
              </a:spcBef>
            </a:pPr>
            <a:r>
              <a:rPr lang="ru-RU" sz="4000" b="1" dirty="0" smtClean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ЗДАТЕЛЬСТВА «ПРОСВЕЩЕНИЕ»</a:t>
            </a:r>
            <a:endParaRPr lang="ru-RU" sz="4000" dirty="0" smtClean="0">
              <a:solidFill>
                <a:srgbClr val="2D2B8D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3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sp>
        <p:nvSpPr>
          <p:cNvPr id="68" name="Rectangle 26"/>
          <p:cNvSpPr>
            <a:spLocks noChangeArrowheads="1"/>
          </p:cNvSpPr>
          <p:nvPr/>
        </p:nvSpPr>
        <p:spPr bwMode="auto">
          <a:xfrm>
            <a:off x="7573450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47"/>
          <p:cNvSpPr>
            <a:spLocks noEditPoints="1"/>
          </p:cNvSpPr>
          <p:nvPr/>
        </p:nvSpPr>
        <p:spPr bwMode="auto">
          <a:xfrm>
            <a:off x="3761951" y="3158110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Rectangle 21"/>
          <p:cNvSpPr>
            <a:spLocks noChangeArrowheads="1"/>
          </p:cNvSpPr>
          <p:nvPr/>
        </p:nvSpPr>
        <p:spPr bwMode="auto">
          <a:xfrm>
            <a:off x="9045994" y="1430254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4" name="Freeform 47"/>
          <p:cNvSpPr>
            <a:spLocks noEditPoints="1"/>
          </p:cNvSpPr>
          <p:nvPr/>
        </p:nvSpPr>
        <p:spPr bwMode="auto">
          <a:xfrm>
            <a:off x="9523138" y="1789685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178362" y="1204382"/>
            <a:ext cx="2377014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плект портретов полководцев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endParaRPr lang="ru-RU" sz="16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лександр Невск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митрий Донско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А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умянце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А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тёмки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В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увор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Ф. Ушаков,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И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утуз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А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хим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А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Брусилов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К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Жуков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Комплект портретов</a:t>
            </a:r>
            <a:endParaRPr lang="ru-RU" sz="28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40843" y="1099489"/>
            <a:ext cx="1713388" cy="239746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54851" y="1096309"/>
            <a:ext cx="1693522" cy="239721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82395" y="1099489"/>
            <a:ext cx="1674946" cy="237736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34244" y="1104661"/>
            <a:ext cx="1693522" cy="238618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98700" y="1096932"/>
            <a:ext cx="1696700" cy="238618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44714" y="3940347"/>
            <a:ext cx="1709517" cy="241457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53364" y="3940348"/>
            <a:ext cx="1694783" cy="2386182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34245" y="3940347"/>
            <a:ext cx="1693522" cy="2386183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298700" y="3940348"/>
            <a:ext cx="1696700" cy="237538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193585" y="3945968"/>
            <a:ext cx="1663756" cy="237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20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1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454943" y="1311684"/>
            <a:ext cx="673678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плект портретов. Великие педагоги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Я. Коменский, Ж.-Ж. Руссо,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Д. Ушинский, Д. </a:t>
            </a:r>
            <a:r>
              <a:rPr lang="ru-RU" sz="1600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ьюи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А. С. Макаренко, Л. С. Выготский,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В. </a:t>
            </a:r>
            <a:r>
              <a:rPr lang="ru-RU" sz="1600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Занков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В. А. Сухомлинский, М. </a:t>
            </a:r>
            <a:r>
              <a:rPr lang="ru-RU" sz="1600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онтессори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Ш. А. </a:t>
            </a:r>
            <a:r>
              <a:rPr lang="ru-RU" sz="1600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монашвили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Комплект портретов</a:t>
            </a:r>
            <a:endParaRPr lang="ru-RU" sz="28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65456" y="5440313"/>
            <a:ext cx="390843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57-0204-01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плект плакатов А3 </a:t>
            </a:r>
          </a:p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ат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0*90/4</a:t>
            </a: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5540004" y="2570937"/>
            <a:ext cx="5755664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т содержит портреты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есяти великих педагогов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аждый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ртрет сопровождает краткий познавательный текст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т портретов предназначен для оформления учебных и административных кабинетов. Также он может использоваться в учебном процессе при изучении предмета «Основы педагогики и психологии».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т состоит из 10 односторонних плакатов на плотном картоне, упакованных в крафт-бумагу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58993"/>
            <a:ext cx="5527594" cy="368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31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181099" y="1204382"/>
            <a:ext cx="233626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плект портретов. </a:t>
            </a:r>
            <a:endParaRPr lang="ru-RU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еликие </a:t>
            </a:r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едагоги: </a:t>
            </a:r>
            <a:endParaRPr lang="ru-RU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енск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Ж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-Ж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усс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Д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шинск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ru-RU" sz="1600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ьюи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С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каренк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С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ыготск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В. </a:t>
            </a:r>
            <a:r>
              <a:rPr lang="ru-RU" sz="1600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Занков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А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ухомлинск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ru-RU" sz="1600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онтессори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Ш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А. </a:t>
            </a:r>
            <a:r>
              <a:rPr lang="ru-RU" sz="1600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монашвили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Комплект портретов</a:t>
            </a:r>
            <a:endParaRPr lang="ru-RU" sz="28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1670" y="1067765"/>
            <a:ext cx="1716652" cy="242037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8687" y="1069662"/>
            <a:ext cx="1721477" cy="241716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42814" y="1064900"/>
            <a:ext cx="1718682" cy="242679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14146" y="1072167"/>
            <a:ext cx="1706126" cy="24146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06838" y="1072167"/>
            <a:ext cx="1712151" cy="241466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61671" y="3853976"/>
            <a:ext cx="1716652" cy="242101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68687" y="3853976"/>
            <a:ext cx="1715621" cy="242101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42815" y="3853977"/>
            <a:ext cx="1718682" cy="242533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414146" y="3853976"/>
            <a:ext cx="1713113" cy="2421011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304742" y="3853976"/>
            <a:ext cx="1721687" cy="2421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1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Цены на новинки</a:t>
            </a:r>
            <a:endParaRPr lang="ru-RU" sz="2800" dirty="0"/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459014"/>
              </p:ext>
            </p:extLst>
          </p:nvPr>
        </p:nvGraphicFramePr>
        <p:xfrm>
          <a:off x="1877517" y="1092729"/>
          <a:ext cx="5662127" cy="5088032"/>
        </p:xfrm>
        <a:graphic>
          <a:graphicData uri="http://schemas.openxmlformats.org/drawingml/2006/table">
            <a:tbl>
              <a:tblPr/>
              <a:tblGrid>
                <a:gridCol w="1248089">
                  <a:extLst>
                    <a:ext uri="{9D8B030D-6E8A-4147-A177-3AD203B41FA5}">
                      <a16:colId xmlns:a16="http://schemas.microsoft.com/office/drawing/2014/main" val="1701023775"/>
                    </a:ext>
                  </a:extLst>
                </a:gridCol>
                <a:gridCol w="3574452">
                  <a:extLst>
                    <a:ext uri="{9D8B030D-6E8A-4147-A177-3AD203B41FA5}">
                      <a16:colId xmlns:a16="http://schemas.microsoft.com/office/drawing/2014/main" val="133208820"/>
                    </a:ext>
                  </a:extLst>
                </a:gridCol>
                <a:gridCol w="839586">
                  <a:extLst>
                    <a:ext uri="{9D8B030D-6E8A-4147-A177-3AD203B41FA5}">
                      <a16:colId xmlns:a16="http://schemas.microsoft.com/office/drawing/2014/main" val="3866354106"/>
                    </a:ext>
                  </a:extLst>
                </a:gridCol>
              </a:tblGrid>
              <a:tr h="3619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нт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на, с НД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714941"/>
                  </a:ext>
                </a:extLst>
              </a:tr>
              <a:tr h="4545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3-0185-01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фавит (печатные и рукописные буквы русского алфавита). Демонстрационная таблица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412881"/>
                  </a:ext>
                </a:extLst>
              </a:tr>
              <a:tr h="3631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3-0048-02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фры. Демонстрационная таблиц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1245"/>
                  </a:ext>
                </a:extLst>
              </a:tr>
              <a:tr h="455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3-0046-02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ица умножения. Демонстрационная таблиц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464328"/>
                  </a:ext>
                </a:extLst>
              </a:tr>
              <a:tr h="4821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-0187-01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ударственные символы Российской Федерации. Демонстрационная таблиц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1623630"/>
                  </a:ext>
                </a:extLst>
              </a:tr>
              <a:tr h="4073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3-0186-01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глийский алфавит. Демонстрационная таблица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8010215"/>
                  </a:ext>
                </a:extLst>
              </a:tr>
              <a:tr h="5153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-0838-02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ссийская Федерация. Федеративное устройство. Настенная карта (850*1210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422624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-0839-02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ссийская Федерация. Физическая карта. Настенная карта (850*1210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6860167"/>
                  </a:ext>
                </a:extLst>
              </a:tr>
              <a:tr h="839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-0203-01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лект портретов полководцев: Александр Невский, Дмитрий Донской, А. В. Суворов, П. А. Румянцев, Г. А. Потёмкин, Ф. Ф. Ушаков, М. И. Кутузов, П. А. Нахимов, А. А. Брусилов, Г. К. Жуков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7012063"/>
                  </a:ext>
                </a:extLst>
              </a:tr>
              <a:tr h="6428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-0204-01</a:t>
                      </a:r>
                    </a:p>
                  </a:txBody>
                  <a:tcPr marL="5953" marR="5953" marT="5953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лект портретов. Великие педагоги: Я. Коменский, Ж.-Ж. Руссо, К. Д. Ушинский, Д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ьюи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А. С. Макаренко, Л. С. Выготский, Л. В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нков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В. А. Сухомлинский, М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нтессори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Ш. А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нашвил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48321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865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5" name="Прямоугольник 97"/>
          <p:cNvSpPr/>
          <p:nvPr/>
        </p:nvSpPr>
        <p:spPr bwMode="auto">
          <a:xfrm>
            <a:off x="186183" y="2675238"/>
            <a:ext cx="11819633" cy="3730010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36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4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5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6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7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8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19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0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2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 extrusionOk="0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3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 extrusionOk="0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4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5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7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 extrusionOk="0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8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0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 extrusionOk="0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29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 extrusionOk="0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0" name="Freeform 41"/>
          <p:cNvSpPr/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 extrusionOk="0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grpSp>
        <p:nvGrpSpPr>
          <p:cNvPr id="31" name="Группа 96"/>
          <p:cNvGrpSpPr/>
          <p:nvPr/>
        </p:nvGrpSpPr>
        <p:grpSpPr bwMode="auto">
          <a:xfrm>
            <a:off x="9501352" y="538285"/>
            <a:ext cx="546537" cy="591303"/>
            <a:chOff x="477468" y="2705514"/>
            <a:chExt cx="409902" cy="443476"/>
          </a:xfrm>
        </p:grpSpPr>
        <p:sp>
          <p:nvSpPr>
            <p:cNvPr id="32" name="Freeform 42"/>
            <p:cNvSpPr>
              <a:spLocks noEditPoints="1"/>
            </p:cNvSpPr>
            <p:nvPr/>
          </p:nvSpPr>
          <p:spPr bwMode="auto">
            <a:xfrm>
              <a:off x="477468" y="2705514"/>
              <a:ext cx="409902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 extrusionOk="0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2400"/>
            </a:p>
          </p:txBody>
        </p:sp>
        <p:sp>
          <p:nvSpPr>
            <p:cNvPr id="33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2400"/>
            </a:p>
          </p:txBody>
        </p:sp>
      </p:grpSp>
      <p:sp>
        <p:nvSpPr>
          <p:cNvPr id="34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 extrusionOk="0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5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 extrusionOk="0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6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 extrusionOk="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7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 extrusionOk="0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8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 extrusionOk="0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39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 extrusionOk="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0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 extrusionOk="0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1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 extrusionOk="0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sp>
        <p:nvSpPr>
          <p:cNvPr id="42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0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 extrusionOk="0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68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2400">
              <a:solidFill>
                <a:schemeClr val="bg1"/>
              </a:solidFill>
            </a:endParaRPr>
          </a:p>
        </p:txBody>
      </p:sp>
      <p:sp>
        <p:nvSpPr>
          <p:cNvPr id="45" name="TextBox 25"/>
          <p:cNvSpPr>
            <a:spLocks/>
          </p:cNvSpPr>
          <p:nvPr/>
        </p:nvSpPr>
        <p:spPr bwMode="auto">
          <a:xfrm>
            <a:off x="186184" y="6405331"/>
            <a:ext cx="11819631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950" dirty="0">
                <a:solidFill>
                  <a:schemeClr val="bg1">
                    <a:lumMod val="50000"/>
                  </a:schemeClr>
                </a:solidFill>
                <a:ea typeface="Open Sans Light"/>
                <a:cs typeface="Open Sans Light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50" dirty="0" smtClean="0">
                <a:solidFill>
                  <a:schemeClr val="bg1">
                    <a:lumMod val="50000"/>
                  </a:schemeClr>
                </a:solidFill>
                <a:ea typeface="Open Sans Light"/>
                <a:cs typeface="Open Sans Light"/>
              </a:rPr>
              <a:t>2</a:t>
            </a:r>
            <a:r>
              <a:rPr lang="ru-RU" sz="950" dirty="0" smtClean="0">
                <a:solidFill>
                  <a:schemeClr val="bg1">
                    <a:lumMod val="50000"/>
                  </a:schemeClr>
                </a:solidFill>
                <a:ea typeface="Open Sans Light"/>
                <a:cs typeface="Open Sans Light"/>
              </a:rPr>
              <a:t>3 </a:t>
            </a:r>
            <a:r>
              <a:rPr lang="ru-RU" sz="950" dirty="0">
                <a:solidFill>
                  <a:schemeClr val="bg1">
                    <a:lumMod val="50000"/>
                  </a:schemeClr>
                </a:solidFill>
                <a:ea typeface="Open Sans Light"/>
                <a:cs typeface="Open Sans Light"/>
              </a:rPr>
              <a:t>г</a:t>
            </a:r>
            <a:r>
              <a:rPr lang="ru-RU" sz="950" dirty="0">
                <a:solidFill>
                  <a:schemeClr val="bg1">
                    <a:lumMod val="50000"/>
                  </a:schemeClr>
                </a:solidFill>
                <a:latin typeface="Open Sans Light"/>
                <a:ea typeface="Open Sans Light"/>
                <a:cs typeface="Open Sans Light"/>
              </a:rPr>
              <a:t>.</a:t>
            </a:r>
            <a:endParaRPr dirty="0"/>
          </a:p>
        </p:txBody>
      </p:sp>
      <p:sp>
        <p:nvSpPr>
          <p:cNvPr id="46" name="Подзаголовок 2"/>
          <p:cNvSpPr>
            <a:spLocks/>
          </p:cNvSpPr>
          <p:nvPr/>
        </p:nvSpPr>
        <p:spPr bwMode="auto">
          <a:xfrm>
            <a:off x="2525483" y="3557607"/>
            <a:ext cx="7707483" cy="6647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Группа компаний «Просвещение»</a:t>
            </a:r>
            <a:endParaRPr dirty="0"/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Адрес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127473, г. Москва, ул. </a:t>
            </a:r>
            <a:r>
              <a:rPr lang="ru-RU" sz="1200" dirty="0" err="1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Краснопролетарская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, д. 16,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стр.3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, подъезд 8, бизнес-центр «Новослободский»</a:t>
            </a:r>
            <a:endParaRPr dirty="0"/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ea typeface="Open Sans"/>
                <a:cs typeface="Open Sans"/>
              </a:rPr>
              <a:t>линия: </a:t>
            </a:r>
            <a:r>
              <a:rPr lang="en-US" sz="1200" u="sng" dirty="0" err="1">
                <a:solidFill>
                  <a:schemeClr val="tx1">
                    <a:lumMod val="75000"/>
                    <a:lumOff val="25000"/>
                  </a:schemeClr>
                </a:solidFill>
                <a:ea typeface="Open Sans"/>
                <a:cs typeface="Open Sans"/>
                <a:hlinkClick r:id="rId6" tooltip="mailto:vopros@prosv.ru"/>
              </a:rPr>
              <a:t>vopros</a:t>
            </a:r>
            <a:r>
              <a:rPr lang="ru-RU" sz="1200" u="sng" dirty="0">
                <a:solidFill>
                  <a:schemeClr val="tx1">
                    <a:lumMod val="75000"/>
                    <a:lumOff val="25000"/>
                  </a:schemeClr>
                </a:solidFill>
                <a:ea typeface="Open Sans"/>
                <a:cs typeface="Open Sans"/>
                <a:hlinkClick r:id="rId6" tooltip="mailto:vopros@prosv.ru"/>
              </a:rPr>
              <a:t>@</a:t>
            </a:r>
            <a:r>
              <a:rPr lang="en-US" sz="1200" u="sng" dirty="0" err="1">
                <a:solidFill>
                  <a:schemeClr val="tx1">
                    <a:lumMod val="75000"/>
                    <a:lumOff val="25000"/>
                  </a:schemeClr>
                </a:solidFill>
                <a:ea typeface="Open Sans"/>
                <a:cs typeface="Open Sans"/>
                <a:hlinkClick r:id="rId6" tooltip="mailto:vopros@prosv.ru"/>
              </a:rPr>
              <a:t>prosv</a:t>
            </a:r>
            <a:r>
              <a:rPr lang="ru-RU" sz="1200" u="sng" dirty="0">
                <a:solidFill>
                  <a:schemeClr val="tx1">
                    <a:lumMod val="75000"/>
                    <a:lumOff val="25000"/>
                  </a:schemeClr>
                </a:solidFill>
                <a:ea typeface="Open Sans"/>
                <a:cs typeface="Open Sans"/>
                <a:hlinkClick r:id="rId6" tooltip="mailto:vopros@prosv.ru"/>
              </a:rPr>
              <a:t>.</a:t>
            </a:r>
            <a:r>
              <a:rPr lang="en-US" sz="1200" u="sng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/>
                <a:cs typeface="Open Sans"/>
                <a:hlinkClick r:id="rId6" tooltip="mailto:vopros@prosv.ru"/>
              </a:rPr>
              <a:t>ru</a:t>
            </a:r>
            <a:endParaRPr lang="ru-RU" sz="1200" u="sng" dirty="0">
              <a:solidFill>
                <a:schemeClr val="tx1">
                  <a:lumMod val="75000"/>
                  <a:lumOff val="25000"/>
                </a:schemeClr>
              </a:solidFill>
              <a:ea typeface="Open Sans"/>
              <a:cs typeface="Open San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CC2156-F7EC-4AE3-87A5-A4D79299ACEA}" type="slidenum">
              <a:rPr lang="ru-RU" smtClean="0"/>
              <a:t>14</a:t>
            </a:fld>
            <a:endParaRPr lang="ru-RU"/>
          </a:p>
        </p:txBody>
      </p:sp>
      <p:pic>
        <p:nvPicPr>
          <p:cNvPr id="48" name="Picture 124" descr="http://qrcoder.ru/code/?http%3A%2F%2Fshop.prosv.ru%2Fnachalnoe-obrazovanie-1-4-klassy101%3Futm_source%3Dprez%26utm_medium%3Dcpc%26utm_campaign%3Dvneuroch-nach%23%2Forderby%3D5%26sFilters%3D13%2117879%3B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11" y="3489502"/>
            <a:ext cx="1329593" cy="1329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313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/>
              <a:t>Одиночные плакаты для начальной школы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130040" y="1299753"/>
            <a:ext cx="567257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лфавит (печатные и рукописные буквы русского алфавита). </a:t>
            </a:r>
            <a:endParaRPr lang="ru-RU" sz="16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емонстрационная 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аблица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116"/>
          <p:cNvSpPr>
            <a:spLocks noChangeArrowheads="1"/>
          </p:cNvSpPr>
          <p:nvPr/>
        </p:nvSpPr>
        <p:spPr bwMode="auto">
          <a:xfrm>
            <a:off x="5130040" y="2231804"/>
            <a:ext cx="6252135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емонстрационная таблица представляет собой красочно оформленный плакат, который содержит печатные и рукописные буквы русского алфавита. </a:t>
            </a:r>
            <a:endParaRPr lang="ru-RU" alt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собие </a:t>
            </a: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ниверсально и может быть использовано как необходимое дополнение ко всем существующим сегодня курсам русского языка в начальной школе.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лакат станет помощником для ребят старшего дошкольного возраста и учеников младших классов при обучении письму. Его можно повесить на стене в комнате или учебном классе как шпаргалку-напоминание по правильному написанию печатных и рукописных букв русского алфавита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.</a:t>
            </a:r>
            <a:endParaRPr lang="ru-RU" alt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0697" y="5256511"/>
            <a:ext cx="390843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03-0185-0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диночный плакат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ат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0*90/1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мер</a:t>
            </a: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80 × 980 мм.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740" y="1091936"/>
            <a:ext cx="2737828" cy="406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47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130040" y="1223773"/>
            <a:ext cx="34517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Цифры. Демонстрационная таблица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5209228" y="1925595"/>
            <a:ext cx="5778086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 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лакате представлены </a:t>
            </a: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ечатные и рукописные цифры от 0 до 9, а также правильный порядок при их написании. </a:t>
            </a:r>
            <a:endParaRPr lang="ru-RU" alt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емонстрационная таблица универсальна 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 </a:t>
            </a: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ожет быть 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спользована </a:t>
            </a: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ак необходимое дополнение ко всем существующим сегодня курсам математики в начальной школе.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лакат станет помощником для ребят старшего дошкольного возраста и учеников младших классов, которые начали учить цифры и счет. Его можно повесить на стене в комнате или учебном классе как шпаргалку-напоминание по правильному написанию цифр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.</a:t>
            </a:r>
            <a:endParaRPr lang="ru-RU" alt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/>
              <a:t>Одиночные плакаты для начальной школы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70241" y="5419584"/>
            <a:ext cx="390843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03-0048-02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диночный плакат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ат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0*90/1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мер: 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80 × 980 мм.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550" y="1041780"/>
            <a:ext cx="2874146" cy="4264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12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6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130040" y="1244668"/>
            <a:ext cx="46287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аблица умножения. Демонстрационная таблица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5130040" y="2074771"/>
            <a:ext cx="60198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 плакате представлена таблица умножения в наглядной форме. </a:t>
            </a:r>
            <a:endParaRPr lang="ru-RU" alt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емонстрационная </a:t>
            </a: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таблица универсальна и может быть использована как необходимое дополнение ко всем существующим сегодня курсам математики в начальной школе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Таблица умножения станет отличным помощником для учащихся младших классов. Его можно повесить на стене в комнате или учебном классе как шпаргалку-напоминание, которая поможет быстро и эффективно выучить таблицу умножения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.</a:t>
            </a:r>
            <a:endParaRPr lang="ru-RU" alt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Одиночные плакаты для начальной школы</a:t>
            </a:r>
            <a:endParaRPr lang="ru-RU" sz="28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370241" y="5370381"/>
            <a:ext cx="390843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03-0046-02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диночный плакат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ат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0*90/1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мер: 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80 × 980 мм.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550" y="1089001"/>
            <a:ext cx="2776800" cy="412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53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8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130040" y="1244668"/>
            <a:ext cx="46415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нглийский алфавит. Демонстрационная </a:t>
            </a: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аблица</a:t>
            </a:r>
            <a:endParaRPr lang="ru-RU" sz="16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130040" y="1991177"/>
            <a:ext cx="5696224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емонстрационная таблица представляет собой красочно оформленное пособие, которое содержит английский алфавит с транскрипцией. </a:t>
            </a:r>
            <a:endParaRPr lang="ru-RU" alt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собие </a:t>
            </a: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ниверсально и может быть использовано как дополнение ко всем существующим сегодня курсам английского языка в начальной школе.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лакат станет помощником для ребят старшего дошкольного возраста и учеников младших классов, которые начали учить английский язык. Его можно повесить на стене в комнате или учебном классе, как шпаргалку-напоминание по правильному написанию и произношению английских букв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.</a:t>
            </a:r>
            <a:endParaRPr lang="ru-RU" alt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/>
              <a:t>Одиночные плакаты для начальной школы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70241" y="5370381"/>
            <a:ext cx="390843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03-0186-01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диночный плакат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ат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0*90/1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мер: 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80 × 980 мм.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6354" y="1084621"/>
            <a:ext cx="2797842" cy="4151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14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6172726" y="1338513"/>
            <a:ext cx="48145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сударственные символы Российской </a:t>
            </a: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едерации. 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емонстрационная 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аблица</a:t>
            </a: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6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/>
              <a:t>Государственные символы Российской Федераци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86706" y="5259521"/>
            <a:ext cx="390843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57-0187-0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диночный плакат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ат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0*90/1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мер: 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80 × 980 мм.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6144236" y="2334653"/>
            <a:ext cx="6047763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лакат «Государственные символы Российской Федерации» содержит изображения государственных символов Российской Федерации: герб и флаг с кратким историческим описанием, а также текст гимна.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зучение государственных символов Российской Федерации является неотъемлемой частью образовательного процесса. </a:t>
            </a:r>
            <a:endParaRPr lang="ru-RU" alt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лакат </a:t>
            </a:r>
            <a:r>
              <a:rPr lang="ru-RU" alt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ожно разместить в холлах, учебных кабинетах, зонах рекреации, библиотеках, актовых залах, административных помещениях школы</a:t>
            </a:r>
            <a:r>
              <a:rPr lang="ru-RU" alt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.</a:t>
            </a:r>
            <a:endParaRPr lang="ru-RU" alt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550" y="1338513"/>
            <a:ext cx="5142524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09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5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6617244" y="1196506"/>
            <a:ext cx="477643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оссийская Федерация. Федеративное устройство. </a:t>
            </a:r>
            <a:endParaRPr lang="ru-RU" sz="16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стенная 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рта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Настенные карты</a:t>
            </a:r>
            <a:endParaRPr lang="ru-RU" sz="28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65456" y="5440313"/>
            <a:ext cx="390843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9-0838-02 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диночный плакат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0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мер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210 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×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850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м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6617244" y="1985646"/>
            <a:ext cx="5471975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литико-административная карта России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ана масштабом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1 : 7 500 000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осударственная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раница и административное-территориальное деление Российской Федерации даны на карте по состоянию на октябрь 2022 г. </a:t>
            </a:r>
            <a:endParaRPr 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Цветом на карте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казаны все субъекты Российской Федерации, показаны их границы, подписаны названия административных центров. </a:t>
            </a:r>
            <a:endParaRPr 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тмечены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раницы и подписаны столицы зарубежных государств. </a:t>
            </a:r>
            <a:endParaRPr 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тмечены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 подписаны населённые пункты, порты и железнодорожные магистрали.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5460" y="1223773"/>
            <a:ext cx="5769666" cy="4079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12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7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6815900" y="1135979"/>
            <a:ext cx="40080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оссийская Федерация. </a:t>
            </a: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зическая карта. 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стенная 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рта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Настенные карты</a:t>
            </a:r>
            <a:endParaRPr lang="ru-RU" sz="28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06600" y="5456134"/>
            <a:ext cx="390843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9-0839-02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диночный плакат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0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мер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210 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×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850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м</a:t>
            </a:r>
            <a:r>
              <a:rPr lang="ru-RU" alt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6815900" y="1971678"/>
            <a:ext cx="5241421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литико-административная карта России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ана масштабом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1 : 7 500 000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арте показаны государственная граница Российской Федерации; населённые пункты; крупнейшие месторождения полезных ископаемых по категориям; цветным фоном показан рельеф суши и морского дна. </a:t>
            </a:r>
            <a:endParaRPr 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ана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нформация по географическим объектам (реки, озера, острова, вершины и вулканы). </a:t>
            </a:r>
            <a:endParaRPr 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осударственная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раница Российской Федерации дана на карте на октябрь 2022 г.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850" y="1135320"/>
            <a:ext cx="5796533" cy="4098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28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9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3671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3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5"/>
          <p:cNvCxnSpPr>
            <a:cxnSpLocks/>
          </p:cNvCxnSpPr>
          <p:nvPr/>
        </p:nvCxnSpPr>
        <p:spPr bwMode="auto">
          <a:xfrm>
            <a:off x="1775520" y="21305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710121" y="1311684"/>
            <a:ext cx="6241517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плект портретов полководцев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лександр Невский,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митрий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онской,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А. Румянцев, Г. А. Потёмкин, А. В. Суворов, </a:t>
            </a:r>
            <a:endParaRPr lang="ru-RU" sz="1600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Ф. Ушаков,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И. Кутузов, П. А. Нахимов, А. А. Брусилов, Г. К. 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Жуков</a:t>
            </a:r>
            <a:endParaRPr lang="ru-RU" sz="1600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lang="ru-RU" sz="1000" kern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35707" y="21037"/>
            <a:ext cx="9363075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2800" dirty="0" smtClean="0"/>
              <a:t>Серия «Наглядные пособия».</a:t>
            </a:r>
          </a:p>
          <a:p>
            <a:r>
              <a:rPr lang="ru-RU" sz="2800" dirty="0" smtClean="0"/>
              <a:t>Комплект портретов</a:t>
            </a:r>
            <a:endParaRPr lang="ru-RU" sz="28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65456" y="5440313"/>
            <a:ext cx="390843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д контента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57-0203-01</a:t>
            </a:r>
          </a:p>
          <a:p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ид оформления</a:t>
            </a:r>
            <a:r>
              <a:rPr lang="ru-RU" sz="1600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плект плакатов А3 </a:t>
            </a:r>
          </a:p>
          <a:p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ат: </a:t>
            </a:r>
            <a:r>
              <a:rPr lang="ru-RU" sz="1600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0*90/4</a:t>
            </a: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5842738" y="2570937"/>
            <a:ext cx="5755664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т содержит портреты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есяти прославленных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течественных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лководцев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аждый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трет сопровождает краткий познавательный текст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анный комплект, являясь средством обучения и воспитания, может быть приобретён для кабинетов истории, начальных классов, школьного музея и др. </a:t>
            </a:r>
          </a:p>
          <a:p>
            <a:pPr marL="285750" indent="-285750">
              <a:spcAft>
                <a:spcPts val="1200"/>
              </a:spcAft>
              <a:buClr>
                <a:srgbClr val="345DAE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т состоит из 10 односторонних плакатов на плотном картоне, упакованных в крафт-бумагу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173" y="1396585"/>
            <a:ext cx="6061943" cy="404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87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309</TotalTime>
  <Words>1633</Words>
  <Application>Microsoft Office PowerPoint</Application>
  <PresentationFormat>Широкоэкранный</PresentationFormat>
  <Paragraphs>205</Paragraphs>
  <Slides>14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Open Sans</vt:lpstr>
      <vt:lpstr>Open Sans Condensed</vt:lpstr>
      <vt:lpstr>Open Sans Light</vt:lpstr>
      <vt:lpstr>Times New Roman</vt:lpstr>
      <vt:lpstr>Wingdings</vt:lpstr>
      <vt:lpstr>Тема Office</vt:lpstr>
      <vt:lpstr>Слайд think-cell</vt:lpstr>
      <vt:lpstr>oleObj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неурочная деятельность_1-4</dc:title>
  <dc:creator>Анашкина Екатерина Борисовна</dc:creator>
  <cp:lastModifiedBy>Буравина Мария Владимировна</cp:lastModifiedBy>
  <cp:revision>409</cp:revision>
  <cp:lastPrinted>2022-01-12T11:55:06Z</cp:lastPrinted>
  <dcterms:created xsi:type="dcterms:W3CDTF">2020-02-25T09:30:21Z</dcterms:created>
  <dcterms:modified xsi:type="dcterms:W3CDTF">2023-03-01T11:51:30Z</dcterms:modified>
</cp:coreProperties>
</file>